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4" r:id="rId3"/>
    <p:sldId id="257" r:id="rId4"/>
    <p:sldId id="266" r:id="rId5"/>
    <p:sldId id="260" r:id="rId6"/>
    <p:sldId id="259" r:id="rId7"/>
    <p:sldId id="279" r:id="rId8"/>
    <p:sldId id="277" r:id="rId9"/>
    <p:sldId id="278" r:id="rId10"/>
    <p:sldId id="272" r:id="rId11"/>
    <p:sldId id="268" r:id="rId12"/>
    <p:sldId id="263" r:id="rId13"/>
    <p:sldId id="275" r:id="rId14"/>
    <p:sldId id="274" r:id="rId15"/>
    <p:sldId id="276" r:id="rId16"/>
    <p:sldId id="270" r:id="rId17"/>
    <p:sldId id="269" r:id="rId18"/>
  </p:sldIdLst>
  <p:sldSz cx="12192000" cy="6858000"/>
  <p:notesSz cx="6797675" cy="9926638"/>
  <p:custDataLst>
    <p:tags r:id="rId2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3277"/>
    <a:srgbClr val="0078FD"/>
    <a:srgbClr val="FFFFFF"/>
    <a:srgbClr val="FFFF00"/>
    <a:srgbClr val="8EDDFF"/>
    <a:srgbClr val="7F7F7F"/>
    <a:srgbClr val="000000"/>
    <a:srgbClr val="C6EEFF"/>
    <a:srgbClr val="009EE3"/>
    <a:srgbClr val="5E27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53" autoAdjust="0"/>
  </p:normalViewPr>
  <p:slideViewPr>
    <p:cSldViewPr>
      <p:cViewPr varScale="1">
        <p:scale>
          <a:sx n="122" d="100"/>
          <a:sy n="122" d="100"/>
        </p:scale>
        <p:origin x="96" y="28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30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3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30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30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30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30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30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30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30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30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rasmuskl/" TargetMode="External"/><Relationship Id="rId2" Type="http://schemas.openxmlformats.org/officeDocument/2006/relationships/hyperlink" Target="http://rasmuskl.dk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[anything]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2"/>
              </a:rPr>
              <a:t>http://rasmuskl.dk</a:t>
            </a:r>
            <a:endParaRPr lang="da-DK" dirty="0"/>
          </a:p>
          <a:p>
            <a:r>
              <a:rPr lang="da-DK" dirty="0"/>
              <a:t>Github: </a:t>
            </a:r>
            <a:r>
              <a:rPr lang="da-DK" dirty="0">
                <a:hlinkClick r:id="rId3"/>
              </a:rPr>
              <a:t>https://github.com/rasmuskl/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146799">
            <a:off x="7605551" y="1738241"/>
            <a:ext cx="2070095" cy="3315911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9698" y="2420888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19" y="2708920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80" y="3281927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60" y="949203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640" y="434207"/>
            <a:ext cx="1685994" cy="1986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67408" y="5647889"/>
            <a:ext cx="1737185" cy="28803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67609" y="5649835"/>
            <a:ext cx="4896544" cy="288032"/>
          </a:xfrm>
          <a:prstGeom prst="rect">
            <a:avLst/>
          </a:prstGeom>
          <a:solidFill>
            <a:srgbClr val="37327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Cod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527170" y="5647889"/>
            <a:ext cx="3549540" cy="288032"/>
          </a:xfrm>
          <a:prstGeom prst="rect">
            <a:avLst/>
          </a:prstGeom>
          <a:solidFill>
            <a:srgbClr val="7030A0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Stud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bl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pproach</a:t>
            </a:r>
          </a:p>
          <a:p>
            <a:pPr lvl="1"/>
            <a:r>
              <a:rPr lang="da-DK" dirty="0"/>
              <a:t>Look at each technology in isolation</a:t>
            </a:r>
          </a:p>
          <a:p>
            <a:pPr lvl="1"/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~30 employees</a:t>
            </a:r>
          </a:p>
          <a:p>
            <a:endParaRPr lang="da-DK" dirty="0"/>
          </a:p>
          <a:p>
            <a:r>
              <a:rPr lang="da-DK" dirty="0"/>
              <a:t>Mission: Help enterprises manage their templates</a:t>
            </a:r>
          </a:p>
          <a:p>
            <a:pPr lvl="1"/>
            <a:r>
              <a:rPr lang="da-DK" dirty="0"/>
              <a:t>Distributing</a:t>
            </a:r>
          </a:p>
          <a:p>
            <a:pPr lvl="1"/>
            <a:r>
              <a:rPr lang="da-DK" dirty="0"/>
              <a:t>Personalizing</a:t>
            </a:r>
          </a:p>
          <a:p>
            <a:pPr lvl="1"/>
            <a:r>
              <a:rPr lang="da-DK" dirty="0"/>
              <a:t>Integrating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1"/>
            <a:r>
              <a:rPr lang="da-DK" dirty="0"/>
              <a:t>Tech stack: .NET on Azure</a:t>
            </a:r>
          </a:p>
          <a:p>
            <a:pPr marL="360000" lvl="2" indent="0">
              <a:buNone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pPr lvl="1"/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Goals</a:t>
            </a:r>
          </a:p>
          <a:p>
            <a:pPr lvl="1"/>
            <a:r>
              <a:rPr lang="da-DK" dirty="0"/>
              <a:t>Focus on core features</a:t>
            </a:r>
          </a:p>
          <a:p>
            <a:pPr lvl="1"/>
            <a:r>
              <a:rPr lang="da-DK" dirty="0"/>
              <a:t>Performance</a:t>
            </a:r>
          </a:p>
          <a:p>
            <a:pPr lvl="1"/>
            <a:r>
              <a:rPr lang="da-DK" dirty="0"/>
              <a:t>Productivity</a:t>
            </a:r>
          </a:p>
          <a:p>
            <a:pPr lvl="1"/>
            <a:r>
              <a:rPr lang="da-DK" dirty="0"/>
              <a:t>Attracting new developers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  <p:sp>
        <p:nvSpPr>
          <p:cNvPr id="6" name="Arrow: Down 5"/>
          <p:cNvSpPr/>
          <p:nvPr/>
        </p:nvSpPr>
        <p:spPr>
          <a:xfrm>
            <a:off x="8423919" y="2583823"/>
            <a:ext cx="576064" cy="648072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m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1153" y="4149080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595" y="1355898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088" y="2780928"/>
            <a:ext cx="1685994" cy="198668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277911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NPM / Webpack Task Runner</a:t>
            </a:r>
          </a:p>
          <a:p>
            <a:pPr lvl="1"/>
            <a:r>
              <a:rPr lang="da-DK" dirty="0"/>
              <a:t>TypeScript for Visual Studio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 typings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Understand your tools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React, Webpack and TypeScript documentation sit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 (and </a:t>
            </a:r>
            <a:r>
              <a:rPr lang="da-DK" b="1" dirty="0"/>
              <a:t>create-react-app-typescript</a:t>
            </a:r>
            <a:r>
              <a:rPr lang="da-DK" dirty="0"/>
              <a:t>)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57</TotalTime>
  <Words>480</Words>
  <Application>Microsoft Office PowerPoint</Application>
  <PresentationFormat>Widescreen</PresentationFormat>
  <Paragraphs>244</Paragraphs>
  <Slides>17</Slides>
  <Notes>0</Notes>
  <HiddenSlides>8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 </vt:lpstr>
      <vt:lpstr>Problem</vt:lpstr>
      <vt:lpstr>Templafy</vt:lpstr>
      <vt:lpstr>Our Rewrite</vt:lpstr>
      <vt:lpstr>Demo</vt:lpstr>
      <vt:lpstr>Visual Studio</vt:lpstr>
      <vt:lpstr>Thank you!</vt:lpstr>
      <vt:lpstr>React Reconcillation</vt:lpstr>
      <vt:lpstr>React</vt:lpstr>
      <vt:lpstr>React Component Lifecycle</vt:lpstr>
      <vt:lpstr>TypeScript</vt:lpstr>
      <vt:lpstr>Webpack</vt:lpstr>
      <vt:lpstr>Webpack Hot Module Reload</vt:lpstr>
      <vt:lpstr>Javascript Versions</vt:lpstr>
      <vt:lpstr>Why not Angular 2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336</cp:revision>
  <cp:lastPrinted>2016-09-01T12:11:25Z</cp:lastPrinted>
  <dcterms:created xsi:type="dcterms:W3CDTF">2016-09-08T09:03:45Z</dcterms:created>
  <dcterms:modified xsi:type="dcterms:W3CDTF">2017-03-30T11:2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